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7556500" cy="10693400"/>
  <p:notesSz cx="6858000" cy="9144000"/>
  <p:embeddedFontLst>
    <p:embeddedFont>
      <p:font typeface="Anton" pitchFamily="2" charset="0"/>
      <p:regular r:id="rId3"/>
    </p:embeddedFont>
    <p:embeddedFont>
      <p:font typeface="Lacquer" pitchFamily="2" charset="0"/>
      <p:regular r:id="rId4"/>
    </p:embeddedFont>
    <p:embeddedFont>
      <p:font typeface="Roboto Mono" panose="00000009000000000000" pitchFamily="49" charset="0"/>
      <p:regular r:id="rId5"/>
      <p:bold r:id="rId6"/>
      <p:italic r:id="rId7"/>
      <p:boldItalic r:id="rId8"/>
    </p:embeddedFont>
    <p:embeddedFont>
      <p:font typeface="Roboto Mono Medium" panose="00000009000000000000" pitchFamily="49" charset="0"/>
      <p:regular r:id="rId9"/>
      <p: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4E1D"/>
    <a:srgbClr val="EAC2A3"/>
    <a:srgbClr val="440934"/>
    <a:srgbClr val="111111"/>
    <a:srgbClr val="226055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52" d="100"/>
          <a:sy n="52" d="100"/>
        </p:scale>
        <p:origin x="1992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pn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sv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111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Halloween Potluck #2">
            <a:extLst>
              <a:ext uri="{FF2B5EF4-FFF2-40B4-BE49-F238E27FC236}">
                <a16:creationId xmlns:a16="http://schemas.microsoft.com/office/drawing/2014/main" id="{1EA944D0-33BA-2AAE-A525-58A536D962D2}"/>
              </a:ext>
            </a:extLst>
          </p:cNvPr>
          <p:cNvGrpSpPr/>
          <p:nvPr/>
        </p:nvGrpSpPr>
        <p:grpSpPr>
          <a:xfrm>
            <a:off x="-2905345" y="-198490"/>
            <a:ext cx="12731413" cy="12648851"/>
            <a:chOff x="-2905345" y="-198490"/>
            <a:chExt cx="12731413" cy="12648851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08A6E5B-2BDD-6EBF-360B-FDBFDAC57E86}"/>
                </a:ext>
              </a:extLst>
            </p:cNvPr>
            <p:cNvGrpSpPr/>
            <p:nvPr/>
          </p:nvGrpSpPr>
          <p:grpSpPr>
            <a:xfrm>
              <a:off x="-2905345" y="-198490"/>
              <a:ext cx="12731413" cy="12648851"/>
              <a:chOff x="-2905345" y="-198490"/>
              <a:chExt cx="12731413" cy="12648851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9F5568ED-8E39-0E7C-3BA2-E23C96033B0D}"/>
                  </a:ext>
                </a:extLst>
              </p:cNvPr>
              <p:cNvSpPr/>
              <p:nvPr/>
            </p:nvSpPr>
            <p:spPr>
              <a:xfrm rot="481247">
                <a:off x="-2905345" y="7248332"/>
                <a:ext cx="5254574" cy="5202028"/>
              </a:xfrm>
              <a:custGeom>
                <a:avLst/>
                <a:gdLst>
                  <a:gd name="connsiteX0" fmla="*/ 0 w 5254574"/>
                  <a:gd name="connsiteY0" fmla="*/ 3489019 h 5202028"/>
                  <a:gd name="connsiteX1" fmla="*/ 65724 w 5254574"/>
                  <a:gd name="connsiteY1" fmla="*/ 3955438 h 5202028"/>
                  <a:gd name="connsiteX2" fmla="*/ 141177 w 5254574"/>
                  <a:gd name="connsiteY2" fmla="*/ 3944806 h 5202028"/>
                  <a:gd name="connsiteX3" fmla="*/ 318333 w 5254574"/>
                  <a:gd name="connsiteY3" fmla="*/ 5202028 h 5202028"/>
                  <a:gd name="connsiteX4" fmla="*/ 0 w 5254574"/>
                  <a:gd name="connsiteY4" fmla="*/ 5202028 h 5202028"/>
                  <a:gd name="connsiteX5" fmla="*/ 2541582 w 5254574"/>
                  <a:gd name="connsiteY5" fmla="*/ 0 h 5202028"/>
                  <a:gd name="connsiteX6" fmla="*/ 5254574 w 5254574"/>
                  <a:gd name="connsiteY6" fmla="*/ 0 h 5202028"/>
                  <a:gd name="connsiteX7" fmla="*/ 5254574 w 5254574"/>
                  <a:gd name="connsiteY7" fmla="*/ 5202028 h 5202028"/>
                  <a:gd name="connsiteX8" fmla="*/ 3233487 w 5254574"/>
                  <a:gd name="connsiteY8" fmla="*/ 5202028 h 5202028"/>
                  <a:gd name="connsiteX9" fmla="*/ 5053273 w 5254574"/>
                  <a:gd name="connsiteY9" fmla="*/ 4945601 h 5202028"/>
                  <a:gd name="connsiteX10" fmla="*/ 4799868 w 5254574"/>
                  <a:gd name="connsiteY10" fmla="*/ 3147266 h 5202028"/>
                  <a:gd name="connsiteX11" fmla="*/ 3020399 w 5254574"/>
                  <a:gd name="connsiteY11" fmla="*/ 3398013 h 5202028"/>
                  <a:gd name="connsiteX12" fmla="*/ 0 w 5254574"/>
                  <a:gd name="connsiteY12" fmla="*/ 0 h 5202028"/>
                  <a:gd name="connsiteX13" fmla="*/ 1922959 w 5254574"/>
                  <a:gd name="connsiteY13" fmla="*/ 0 h 5202028"/>
                  <a:gd name="connsiteX14" fmla="*/ 0 w 5254574"/>
                  <a:gd name="connsiteY14" fmla="*/ 270966 h 520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54574" h="5202028">
                    <a:moveTo>
                      <a:pt x="0" y="3489019"/>
                    </a:moveTo>
                    <a:lnTo>
                      <a:pt x="65724" y="3955438"/>
                    </a:lnTo>
                    <a:lnTo>
                      <a:pt x="141177" y="3944806"/>
                    </a:lnTo>
                    <a:lnTo>
                      <a:pt x="318333" y="5202028"/>
                    </a:lnTo>
                    <a:lnTo>
                      <a:pt x="0" y="5202028"/>
                    </a:lnTo>
                    <a:close/>
                    <a:moveTo>
                      <a:pt x="2541582" y="0"/>
                    </a:moveTo>
                    <a:lnTo>
                      <a:pt x="5254574" y="0"/>
                    </a:lnTo>
                    <a:lnTo>
                      <a:pt x="5254574" y="5202028"/>
                    </a:lnTo>
                    <a:lnTo>
                      <a:pt x="3233487" y="5202028"/>
                    </a:lnTo>
                    <a:lnTo>
                      <a:pt x="5053273" y="4945601"/>
                    </a:lnTo>
                    <a:lnTo>
                      <a:pt x="4799868" y="3147266"/>
                    </a:lnTo>
                    <a:lnTo>
                      <a:pt x="3020399" y="3398013"/>
                    </a:lnTo>
                    <a:close/>
                    <a:moveTo>
                      <a:pt x="0" y="0"/>
                    </a:moveTo>
                    <a:lnTo>
                      <a:pt x="1922959" y="0"/>
                    </a:lnTo>
                    <a:lnTo>
                      <a:pt x="0" y="270966"/>
                    </a:lnTo>
                    <a:close/>
                  </a:path>
                </a:pathLst>
              </a:custGeom>
              <a:blipFill>
                <a:blip r:embed="rId3">
                  <a:alphaModFix amt="23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E4A0C8C-6B48-4EF3-0580-B616850FD788}"/>
                  </a:ext>
                </a:extLst>
              </p:cNvPr>
              <p:cNvSpPr/>
              <p:nvPr/>
            </p:nvSpPr>
            <p:spPr>
              <a:xfrm rot="-480000" flipH="1">
                <a:off x="4571495" y="7248332"/>
                <a:ext cx="5254573" cy="5202029"/>
              </a:xfrm>
              <a:custGeom>
                <a:avLst/>
                <a:gdLst>
                  <a:gd name="connsiteX0" fmla="*/ 0 w 5254573"/>
                  <a:gd name="connsiteY0" fmla="*/ 3678451 h 5202029"/>
                  <a:gd name="connsiteX1" fmla="*/ 0 w 5254573"/>
                  <a:gd name="connsiteY1" fmla="*/ 5202029 h 5202029"/>
                  <a:gd name="connsiteX2" fmla="*/ 214124 w 5254573"/>
                  <a:gd name="connsiteY2" fmla="*/ 5202027 h 5202029"/>
                  <a:gd name="connsiteX3" fmla="*/ 0 w 5254573"/>
                  <a:gd name="connsiteY3" fmla="*/ 0 h 5202029"/>
                  <a:gd name="connsiteX4" fmla="*/ 1 w 5254573"/>
                  <a:gd name="connsiteY4" fmla="*/ 347080 h 5202029"/>
                  <a:gd name="connsiteX5" fmla="*/ 1911526 w 5254573"/>
                  <a:gd name="connsiteY5" fmla="*/ 78433 h 5202029"/>
                  <a:gd name="connsiteX6" fmla="*/ 2390518 w 5254573"/>
                  <a:gd name="connsiteY6" fmla="*/ 3486640 h 5202029"/>
                  <a:gd name="connsiteX7" fmla="*/ 4773747 w 5254573"/>
                  <a:gd name="connsiteY7" fmla="*/ 3151699 h 5202029"/>
                  <a:gd name="connsiteX8" fmla="*/ 5026499 w 5254573"/>
                  <a:gd name="connsiteY8" fmla="*/ 4950125 h 5202029"/>
                  <a:gd name="connsiteX9" fmla="*/ 3234115 w 5254573"/>
                  <a:gd name="connsiteY9" fmla="*/ 5202028 h 5202029"/>
                  <a:gd name="connsiteX10" fmla="*/ 5254573 w 5254573"/>
                  <a:gd name="connsiteY10" fmla="*/ 5202028 h 5202029"/>
                  <a:gd name="connsiteX11" fmla="*/ 5254573 w 5254573"/>
                  <a:gd name="connsiteY11" fmla="*/ 0 h 5202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4573" h="5202029">
                    <a:moveTo>
                      <a:pt x="0" y="3678451"/>
                    </a:moveTo>
                    <a:lnTo>
                      <a:pt x="0" y="5202029"/>
                    </a:lnTo>
                    <a:lnTo>
                      <a:pt x="214124" y="5202027"/>
                    </a:lnTo>
                    <a:close/>
                    <a:moveTo>
                      <a:pt x="0" y="0"/>
                    </a:moveTo>
                    <a:lnTo>
                      <a:pt x="1" y="347080"/>
                    </a:lnTo>
                    <a:lnTo>
                      <a:pt x="1911526" y="78433"/>
                    </a:lnTo>
                    <a:lnTo>
                      <a:pt x="2390518" y="3486640"/>
                    </a:lnTo>
                    <a:lnTo>
                      <a:pt x="4773747" y="3151699"/>
                    </a:lnTo>
                    <a:lnTo>
                      <a:pt x="5026499" y="4950125"/>
                    </a:lnTo>
                    <a:lnTo>
                      <a:pt x="3234115" y="5202028"/>
                    </a:lnTo>
                    <a:lnTo>
                      <a:pt x="5254573" y="5202028"/>
                    </a:lnTo>
                    <a:lnTo>
                      <a:pt x="5254573" y="0"/>
                    </a:lnTo>
                    <a:close/>
                  </a:path>
                </a:pathLst>
              </a:custGeom>
              <a:blipFill>
                <a:blip r:embed="rId3">
                  <a:alphaModFix amt="23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2E05E2D-6BB5-5FDB-B08D-4D29EE83F2A9}"/>
                  </a:ext>
                </a:extLst>
              </p:cNvPr>
              <p:cNvSpPr/>
              <p:nvPr/>
            </p:nvSpPr>
            <p:spPr>
              <a:xfrm rot="-480000" flipH="1">
                <a:off x="5023974" y="-198490"/>
                <a:ext cx="2672403" cy="2574407"/>
              </a:xfrm>
              <a:custGeom>
                <a:avLst/>
                <a:gdLst>
                  <a:gd name="connsiteX0" fmla="*/ 2672403 w 2672403"/>
                  <a:gd name="connsiteY0" fmla="*/ 0 h 2574407"/>
                  <a:gd name="connsiteX1" fmla="*/ 0 w 2672403"/>
                  <a:gd name="connsiteY1" fmla="*/ 375582 h 2574407"/>
                  <a:gd name="connsiteX2" fmla="*/ 309025 w 2672403"/>
                  <a:gd name="connsiteY2" fmla="*/ 2574407 h 2574407"/>
                  <a:gd name="connsiteX3" fmla="*/ 2672403 w 2672403"/>
                  <a:gd name="connsiteY3" fmla="*/ 2574407 h 257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72403" h="2574407">
                    <a:moveTo>
                      <a:pt x="2672403" y="0"/>
                    </a:moveTo>
                    <a:lnTo>
                      <a:pt x="0" y="375582"/>
                    </a:lnTo>
                    <a:lnTo>
                      <a:pt x="309025" y="2574407"/>
                    </a:lnTo>
                    <a:lnTo>
                      <a:pt x="2672403" y="2574407"/>
                    </a:lnTo>
                    <a:close/>
                  </a:path>
                </a:pathLst>
              </a:custGeom>
              <a:blipFill>
                <a:blip r:embed="rId3">
                  <a:alphaModFix amt="16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0B7754B-2A94-4129-FF0B-AEEF41A76CA3}"/>
                </a:ext>
              </a:extLst>
            </p:cNvPr>
            <p:cNvGrpSpPr/>
            <p:nvPr/>
          </p:nvGrpSpPr>
          <p:grpSpPr>
            <a:xfrm>
              <a:off x="232202" y="10343310"/>
              <a:ext cx="7093845" cy="123111"/>
              <a:chOff x="232202" y="10343310"/>
              <a:chExt cx="7093845" cy="123111"/>
            </a:xfrm>
          </p:grpSpPr>
          <p:sp>
            <p:nvSpPr>
              <p:cNvPr id="30" name="TextBox 30"/>
              <p:cNvSpPr txBox="1"/>
              <p:nvPr/>
            </p:nvSpPr>
            <p:spPr>
              <a:xfrm>
                <a:off x="5226050" y="10343310"/>
                <a:ext cx="2099997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/>
                <a:r>
                  <a:rPr lang="en-US" sz="800" b="1" spc="-43" dirty="0">
                    <a:solidFill>
                      <a:srgbClr val="E1DDD8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WITH CHEF </a:t>
                </a:r>
                <a:r>
                  <a:rPr lang="en-US" sz="800" b="1" spc="-43" dirty="0">
                    <a:solidFill>
                      <a:srgbClr val="FE9204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RYAN SCOTT &amp; ELLA MOORE</a:t>
                </a:r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232202" y="10343310"/>
                <a:ext cx="1410697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/>
                <a:r>
                  <a:rPr lang="en-US" sz="800" b="1" dirty="0">
                    <a:solidFill>
                      <a:srgbClr val="E1DDD8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FROM</a:t>
                </a:r>
                <a:r>
                  <a:rPr lang="en-US" sz="800" b="1" dirty="0">
                    <a:solidFill>
                      <a:srgbClr val="FE9204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 6:00 PM </a:t>
                </a:r>
                <a:r>
                  <a:rPr lang="en-US" sz="800" b="1" dirty="0">
                    <a:solidFill>
                      <a:srgbClr val="E1DDD8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TO </a:t>
                </a:r>
                <a:r>
                  <a:rPr lang="en-US" sz="800" b="1" dirty="0">
                    <a:solidFill>
                      <a:srgbClr val="FE9204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8:00 PM</a:t>
                </a:r>
              </a:p>
            </p:txBody>
          </p:sp>
        </p:grpSp>
        <p:grpSp>
          <p:nvGrpSpPr>
            <p:cNvPr id="61" name="Halloween">
              <a:extLst>
                <a:ext uri="{FF2B5EF4-FFF2-40B4-BE49-F238E27FC236}">
                  <a16:creationId xmlns:a16="http://schemas.microsoft.com/office/drawing/2014/main" id="{4E3B0A39-64B2-42B5-090F-08CF8B0623A2}"/>
                </a:ext>
              </a:extLst>
            </p:cNvPr>
            <p:cNvGrpSpPr/>
            <p:nvPr/>
          </p:nvGrpSpPr>
          <p:grpSpPr>
            <a:xfrm>
              <a:off x="35801" y="360321"/>
              <a:ext cx="7484899" cy="2536779"/>
              <a:chOff x="35801" y="360321"/>
              <a:chExt cx="7484899" cy="2536779"/>
            </a:xfrm>
          </p:grpSpPr>
          <p:sp>
            <p:nvSpPr>
              <p:cNvPr id="4" name="TextBox 4"/>
              <p:cNvSpPr txBox="1"/>
              <p:nvPr/>
            </p:nvSpPr>
            <p:spPr>
              <a:xfrm>
                <a:off x="35801" y="360321"/>
                <a:ext cx="7484899" cy="21753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14150" spc="-494" dirty="0">
                    <a:solidFill>
                      <a:srgbClr val="E1DDD8"/>
                    </a:solidFill>
                    <a:latin typeface="Anton"/>
                    <a:ea typeface="Anton"/>
                    <a:cs typeface="Anton"/>
                    <a:sym typeface="Anton"/>
                  </a:rPr>
                  <a:t>HALLOWEEN</a:t>
                </a:r>
              </a:p>
            </p:txBody>
          </p:sp>
          <p:sp>
            <p:nvSpPr>
              <p:cNvPr id="2" name="Freeform 2"/>
              <p:cNvSpPr/>
              <p:nvPr/>
            </p:nvSpPr>
            <p:spPr>
              <a:xfrm>
                <a:off x="4525717" y="2037837"/>
                <a:ext cx="684457" cy="859263"/>
              </a:xfrm>
              <a:custGeom>
                <a:avLst/>
                <a:gdLst/>
                <a:ahLst/>
                <a:cxnLst/>
                <a:rect l="l" t="t" r="r" b="b"/>
                <a:pathLst>
                  <a:path w="673528" h="859263">
                    <a:moveTo>
                      <a:pt x="0" y="0"/>
                    </a:moveTo>
                    <a:lnTo>
                      <a:pt x="673528" y="0"/>
                    </a:lnTo>
                    <a:lnTo>
                      <a:pt x="673528" y="859262"/>
                    </a:lnTo>
                    <a:lnTo>
                      <a:pt x="0" y="85926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t="-8991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Freeform 3"/>
              <p:cNvSpPr/>
              <p:nvPr/>
            </p:nvSpPr>
            <p:spPr>
              <a:xfrm>
                <a:off x="6928484" y="2037837"/>
                <a:ext cx="560071" cy="712983"/>
              </a:xfrm>
              <a:custGeom>
                <a:avLst/>
                <a:gdLst/>
                <a:ahLst/>
                <a:cxnLst/>
                <a:rect l="l" t="t" r="r" b="b"/>
                <a:pathLst>
                  <a:path w="578482" h="738006">
                    <a:moveTo>
                      <a:pt x="0" y="0"/>
                    </a:moveTo>
                    <a:lnTo>
                      <a:pt x="578482" y="0"/>
                    </a:lnTo>
                    <a:lnTo>
                      <a:pt x="578482" y="738006"/>
                    </a:lnTo>
                    <a:lnTo>
                      <a:pt x="0" y="73800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t="-8991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Freeform 5"/>
              <p:cNvSpPr/>
              <p:nvPr/>
            </p:nvSpPr>
            <p:spPr>
              <a:xfrm>
                <a:off x="145677" y="2025021"/>
                <a:ext cx="566143" cy="722264"/>
              </a:xfrm>
              <a:custGeom>
                <a:avLst/>
                <a:gdLst/>
                <a:ahLst/>
                <a:cxnLst/>
                <a:rect l="l" t="t" r="r" b="b"/>
                <a:pathLst>
                  <a:path w="566143" h="722264">
                    <a:moveTo>
                      <a:pt x="0" y="0"/>
                    </a:moveTo>
                    <a:lnTo>
                      <a:pt x="566142" y="0"/>
                    </a:lnTo>
                    <a:lnTo>
                      <a:pt x="566142" y="722265"/>
                    </a:lnTo>
                    <a:lnTo>
                      <a:pt x="0" y="72226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t="-8991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2905508" y="2003063"/>
                <a:ext cx="294654" cy="428730"/>
              </a:xfrm>
              <a:custGeom>
                <a:avLst/>
                <a:gdLst/>
                <a:ahLst/>
                <a:cxnLst/>
                <a:rect l="l" t="t" r="r" b="b"/>
                <a:pathLst>
                  <a:path w="294654" h="428730">
                    <a:moveTo>
                      <a:pt x="0" y="0"/>
                    </a:moveTo>
                    <a:lnTo>
                      <a:pt x="294654" y="0"/>
                    </a:lnTo>
                    <a:lnTo>
                      <a:pt x="294654" y="428730"/>
                    </a:lnTo>
                    <a:lnTo>
                      <a:pt x="0" y="42873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5226050" y="2025021"/>
                <a:ext cx="294654" cy="428730"/>
              </a:xfrm>
              <a:custGeom>
                <a:avLst/>
                <a:gdLst/>
                <a:ahLst/>
                <a:cxnLst/>
                <a:rect l="l" t="t" r="r" b="b"/>
                <a:pathLst>
                  <a:path w="294654" h="428730">
                    <a:moveTo>
                      <a:pt x="0" y="0"/>
                    </a:moveTo>
                    <a:lnTo>
                      <a:pt x="294655" y="0"/>
                    </a:lnTo>
                    <a:lnTo>
                      <a:pt x="294655" y="428730"/>
                    </a:lnTo>
                    <a:lnTo>
                      <a:pt x="0" y="42873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9" name="Gradient Mask"/>
            <p:cNvSpPr/>
            <p:nvPr/>
          </p:nvSpPr>
          <p:spPr>
            <a:xfrm>
              <a:off x="0" y="1327148"/>
              <a:ext cx="7556500" cy="1533726"/>
            </a:xfrm>
            <a:custGeom>
              <a:avLst/>
              <a:gdLst/>
              <a:ahLst/>
              <a:cxnLst/>
              <a:rect l="l" t="t" r="r" b="b"/>
              <a:pathLst>
                <a:path w="2709333" h="519180">
                  <a:moveTo>
                    <a:pt x="0" y="0"/>
                  </a:moveTo>
                  <a:lnTo>
                    <a:pt x="2709333" y="0"/>
                  </a:lnTo>
                  <a:lnTo>
                    <a:pt x="2709333" y="519180"/>
                  </a:lnTo>
                  <a:lnTo>
                    <a:pt x="0" y="519180"/>
                  </a:lnTo>
                  <a:close/>
                </a:path>
              </a:pathLst>
            </a:custGeom>
            <a:gradFill rotWithShape="1">
              <a:gsLst>
                <a:gs pos="0">
                  <a:srgbClr val="111111">
                    <a:alpha val="0"/>
                  </a:srgbClr>
                </a:gs>
                <a:gs pos="100000">
                  <a:srgbClr val="111111">
                    <a:alpha val="100000"/>
                  </a:srgbClr>
                </a:gs>
              </a:gsLst>
              <a:lin ang="5400000"/>
            </a:grad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6" name="Potluck">
              <a:extLst>
                <a:ext uri="{FF2B5EF4-FFF2-40B4-BE49-F238E27FC236}">
                  <a16:creationId xmlns:a16="http://schemas.microsoft.com/office/drawing/2014/main" id="{3D245CF5-CE5A-0813-CE46-DCF1022B2BD1}"/>
                </a:ext>
              </a:extLst>
            </p:cNvPr>
            <p:cNvGrpSpPr/>
            <p:nvPr/>
          </p:nvGrpSpPr>
          <p:grpSpPr>
            <a:xfrm>
              <a:off x="4607942" y="1982726"/>
              <a:ext cx="2672385" cy="835165"/>
              <a:chOff x="4607942" y="1982726"/>
              <a:chExt cx="2672385" cy="835165"/>
            </a:xfrm>
          </p:grpSpPr>
          <p:sp>
            <p:nvSpPr>
              <p:cNvPr id="12" name="TextBox 12"/>
              <p:cNvSpPr txBox="1"/>
              <p:nvPr/>
            </p:nvSpPr>
            <p:spPr>
              <a:xfrm>
                <a:off x="4607942" y="1982726"/>
                <a:ext cx="2672385" cy="8351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5400" spc="-271" dirty="0">
                    <a:solidFill>
                      <a:srgbClr val="CE7707"/>
                    </a:solidFill>
                    <a:latin typeface="Lacquer"/>
                    <a:ea typeface="Lacquer"/>
                    <a:cs typeface="Lacquer"/>
                    <a:sym typeface="Lacquer"/>
                  </a:rPr>
                  <a:t>potluck</a:t>
                </a:r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5207525" y="2661728"/>
                <a:ext cx="93539" cy="119334"/>
              </a:xfrm>
              <a:custGeom>
                <a:avLst/>
                <a:gdLst/>
                <a:ahLst/>
                <a:cxnLst/>
                <a:rect l="l" t="t" r="r" b="b"/>
                <a:pathLst>
                  <a:path w="93539" h="119334">
                    <a:moveTo>
                      <a:pt x="0" y="0"/>
                    </a:moveTo>
                    <a:lnTo>
                      <a:pt x="93539" y="0"/>
                    </a:lnTo>
                    <a:lnTo>
                      <a:pt x="93539" y="119334"/>
                    </a:lnTo>
                    <a:lnTo>
                      <a:pt x="0" y="11933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t="-8991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 flipH="1">
                <a:off x="6964258" y="2625553"/>
                <a:ext cx="132534" cy="169082"/>
              </a:xfrm>
              <a:custGeom>
                <a:avLst/>
                <a:gdLst/>
                <a:ahLst/>
                <a:cxnLst/>
                <a:rect l="l" t="t" r="r" b="b"/>
                <a:pathLst>
                  <a:path w="136296" h="173882">
                    <a:moveTo>
                      <a:pt x="136296" y="0"/>
                    </a:moveTo>
                    <a:lnTo>
                      <a:pt x="0" y="0"/>
                    </a:lnTo>
                    <a:lnTo>
                      <a:pt x="0" y="173882"/>
                    </a:lnTo>
                    <a:lnTo>
                      <a:pt x="136296" y="173882"/>
                    </a:lnTo>
                    <a:lnTo>
                      <a:pt x="136296" y="0"/>
                    </a:lnTo>
                    <a:close/>
                  </a:path>
                </a:pathLst>
              </a:custGeom>
              <a:blipFill>
                <a:blip r:embed="rId9">
                  <a:alphaModFix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t="-8991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145486D-D161-0057-E753-0AFD111D01FE}"/>
                </a:ext>
              </a:extLst>
            </p:cNvPr>
            <p:cNvGrpSpPr/>
            <p:nvPr/>
          </p:nvGrpSpPr>
          <p:grpSpPr>
            <a:xfrm>
              <a:off x="-2104450" y="-193418"/>
              <a:ext cx="10565883" cy="5847253"/>
              <a:chOff x="-2104450" y="-193418"/>
              <a:chExt cx="10565883" cy="5847253"/>
            </a:xfrm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D6A7E780-43A5-6D79-B75C-5C8DC2AB131E}"/>
                  </a:ext>
                </a:extLst>
              </p:cNvPr>
              <p:cNvSpPr/>
              <p:nvPr/>
            </p:nvSpPr>
            <p:spPr>
              <a:xfrm rot="1214767">
                <a:off x="-1351553" y="-193418"/>
                <a:ext cx="5211256" cy="5159143"/>
              </a:xfrm>
              <a:custGeom>
                <a:avLst/>
                <a:gdLst>
                  <a:gd name="connsiteX0" fmla="*/ 0 w 5211256"/>
                  <a:gd name="connsiteY0" fmla="*/ 3609416 h 5159143"/>
                  <a:gd name="connsiteX1" fmla="*/ 571605 w 5211256"/>
                  <a:gd name="connsiteY1" fmla="*/ 5159143 h 5159143"/>
                  <a:gd name="connsiteX2" fmla="*/ 0 w 5211256"/>
                  <a:gd name="connsiteY2" fmla="*/ 5159143 h 5159143"/>
                  <a:gd name="connsiteX3" fmla="*/ 0 w 5211256"/>
                  <a:gd name="connsiteY3" fmla="*/ 0 h 5159143"/>
                  <a:gd name="connsiteX4" fmla="*/ 2080098 w 5211256"/>
                  <a:gd name="connsiteY4" fmla="*/ 0 h 5159143"/>
                  <a:gd name="connsiteX5" fmla="*/ 956901 w 5211256"/>
                  <a:gd name="connsiteY5" fmla="*/ 414283 h 5159143"/>
                  <a:gd name="connsiteX6" fmla="*/ 1031614 w 5211256"/>
                  <a:gd name="connsiteY6" fmla="*/ 616844 h 5159143"/>
                  <a:gd name="connsiteX7" fmla="*/ 2703990 w 5211256"/>
                  <a:gd name="connsiteY7" fmla="*/ 0 h 5159143"/>
                  <a:gd name="connsiteX8" fmla="*/ 5211256 w 5211256"/>
                  <a:gd name="connsiteY8" fmla="*/ 0 h 5159143"/>
                  <a:gd name="connsiteX9" fmla="*/ 5211256 w 5211256"/>
                  <a:gd name="connsiteY9" fmla="*/ 5159143 h 5159143"/>
                  <a:gd name="connsiteX10" fmla="*/ 2185330 w 5211256"/>
                  <a:gd name="connsiteY10" fmla="*/ 5159143 h 5159143"/>
                  <a:gd name="connsiteX11" fmla="*/ 2216219 w 5211256"/>
                  <a:gd name="connsiteY11" fmla="*/ 5147750 h 5159143"/>
                  <a:gd name="connsiteX12" fmla="*/ 712546 w 5211256"/>
                  <a:gd name="connsiteY12" fmla="*/ 1071013 h 5159143"/>
                  <a:gd name="connsiteX13" fmla="*/ 0 w 5211256"/>
                  <a:gd name="connsiteY13" fmla="*/ 1333830 h 5159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211256" h="5159143">
                    <a:moveTo>
                      <a:pt x="0" y="3609416"/>
                    </a:moveTo>
                    <a:lnTo>
                      <a:pt x="571605" y="5159143"/>
                    </a:lnTo>
                    <a:lnTo>
                      <a:pt x="0" y="5159143"/>
                    </a:lnTo>
                    <a:close/>
                    <a:moveTo>
                      <a:pt x="0" y="0"/>
                    </a:moveTo>
                    <a:lnTo>
                      <a:pt x="2080098" y="0"/>
                    </a:lnTo>
                    <a:lnTo>
                      <a:pt x="956901" y="414283"/>
                    </a:lnTo>
                    <a:lnTo>
                      <a:pt x="1031614" y="616844"/>
                    </a:lnTo>
                    <a:lnTo>
                      <a:pt x="2703990" y="0"/>
                    </a:lnTo>
                    <a:lnTo>
                      <a:pt x="5211256" y="0"/>
                    </a:lnTo>
                    <a:lnTo>
                      <a:pt x="5211256" y="5159143"/>
                    </a:lnTo>
                    <a:lnTo>
                      <a:pt x="2185330" y="5159143"/>
                    </a:lnTo>
                    <a:lnTo>
                      <a:pt x="2216219" y="5147750"/>
                    </a:lnTo>
                    <a:lnTo>
                      <a:pt x="712546" y="1071013"/>
                    </a:lnTo>
                    <a:lnTo>
                      <a:pt x="0" y="1333830"/>
                    </a:lnTo>
                    <a:close/>
                  </a:path>
                </a:pathLst>
              </a:custGeom>
              <a:blipFill>
                <a:blip r:embed="rId3">
                  <a:alphaModFix amt="13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4D6E4DB-1E1B-38DE-43DB-BF252674E0F2}"/>
                  </a:ext>
                </a:extLst>
              </p:cNvPr>
              <p:cNvSpPr/>
              <p:nvPr/>
            </p:nvSpPr>
            <p:spPr>
              <a:xfrm rot="-407098" flipH="1">
                <a:off x="-2104450" y="371962"/>
                <a:ext cx="10565883" cy="5281873"/>
              </a:xfrm>
              <a:custGeom>
                <a:avLst/>
                <a:gdLst>
                  <a:gd name="connsiteX0" fmla="*/ 0 w 10565883"/>
                  <a:gd name="connsiteY0" fmla="*/ 0 h 5281873"/>
                  <a:gd name="connsiteX1" fmla="*/ 1 w 10565883"/>
                  <a:gd name="connsiteY1" fmla="*/ 3152868 h 5281873"/>
                  <a:gd name="connsiteX2" fmla="*/ 921912 w 10565883"/>
                  <a:gd name="connsiteY2" fmla="*/ 3043182 h 5281873"/>
                  <a:gd name="connsiteX3" fmla="*/ 1085281 w 10565883"/>
                  <a:gd name="connsiteY3" fmla="*/ 4416298 h 5281873"/>
                  <a:gd name="connsiteX4" fmla="*/ 0 w 10565883"/>
                  <a:gd name="connsiteY4" fmla="*/ 4545421 h 5281873"/>
                  <a:gd name="connsiteX5" fmla="*/ 0 w 10565883"/>
                  <a:gd name="connsiteY5" fmla="*/ 5281873 h 5281873"/>
                  <a:gd name="connsiteX6" fmla="*/ 10565883 w 10565883"/>
                  <a:gd name="connsiteY6" fmla="*/ 5281873 h 5281873"/>
                  <a:gd name="connsiteX7" fmla="*/ 10565883 w 10565883"/>
                  <a:gd name="connsiteY7" fmla="*/ 4149996 h 5281873"/>
                  <a:gd name="connsiteX8" fmla="*/ 8689948 w 10565883"/>
                  <a:gd name="connsiteY8" fmla="*/ 4373188 h 5281873"/>
                  <a:gd name="connsiteX9" fmla="*/ 8425492 w 10565883"/>
                  <a:gd name="connsiteY9" fmla="*/ 2150431 h 5281873"/>
                  <a:gd name="connsiteX10" fmla="*/ 10565883 w 10565883"/>
                  <a:gd name="connsiteY10" fmla="*/ 1895774 h 5281873"/>
                  <a:gd name="connsiteX11" fmla="*/ 10565883 w 10565883"/>
                  <a:gd name="connsiteY11" fmla="*/ 0 h 528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65883" h="5281873">
                    <a:moveTo>
                      <a:pt x="0" y="0"/>
                    </a:moveTo>
                    <a:lnTo>
                      <a:pt x="1" y="3152868"/>
                    </a:lnTo>
                    <a:lnTo>
                      <a:pt x="921912" y="3043182"/>
                    </a:lnTo>
                    <a:lnTo>
                      <a:pt x="1085281" y="4416298"/>
                    </a:lnTo>
                    <a:lnTo>
                      <a:pt x="0" y="4545421"/>
                    </a:lnTo>
                    <a:lnTo>
                      <a:pt x="0" y="5281873"/>
                    </a:lnTo>
                    <a:lnTo>
                      <a:pt x="10565883" y="5281873"/>
                    </a:lnTo>
                    <a:lnTo>
                      <a:pt x="10565883" y="4149996"/>
                    </a:lnTo>
                    <a:lnTo>
                      <a:pt x="8689948" y="4373188"/>
                    </a:lnTo>
                    <a:lnTo>
                      <a:pt x="8425492" y="2150431"/>
                    </a:lnTo>
                    <a:lnTo>
                      <a:pt x="10565883" y="1895774"/>
                    </a:lnTo>
                    <a:lnTo>
                      <a:pt x="10565883" y="0"/>
                    </a:lnTo>
                    <a:close/>
                  </a:path>
                </a:pathLst>
              </a:custGeom>
              <a:blipFill>
                <a:blip r:embed="rId11">
                  <a:alphaModFix amt="90000"/>
                </a:blip>
                <a:stretch>
                  <a:fillRect l="-1468" t="-1478" r="-1468" b="-1478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9"/>
              <p:cNvSpPr/>
              <p:nvPr/>
            </p:nvSpPr>
            <p:spPr>
              <a:xfrm rot="1247610">
                <a:off x="2177429" y="1834544"/>
                <a:ext cx="1131014" cy="1061128"/>
              </a:xfrm>
              <a:custGeom>
                <a:avLst/>
                <a:gdLst/>
                <a:ahLst/>
                <a:cxnLst/>
                <a:rect l="l" t="t" r="r" b="b"/>
                <a:pathLst>
                  <a:path w="1131014" h="1061128">
                    <a:moveTo>
                      <a:pt x="0" y="0"/>
                    </a:moveTo>
                    <a:lnTo>
                      <a:pt x="1131014" y="0"/>
                    </a:lnTo>
                    <a:lnTo>
                      <a:pt x="1131014" y="1061128"/>
                    </a:lnTo>
                    <a:lnTo>
                      <a:pt x="0" y="106112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2">
                  <a:alphaModFix amt="80000"/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Freeform 21"/>
              <p:cNvSpPr/>
              <p:nvPr/>
            </p:nvSpPr>
            <p:spPr>
              <a:xfrm>
                <a:off x="6188547" y="3061869"/>
                <a:ext cx="1367953" cy="2372097"/>
              </a:xfrm>
              <a:custGeom>
                <a:avLst/>
                <a:gdLst/>
                <a:ahLst/>
                <a:cxnLst/>
                <a:rect l="l" t="t" r="r" b="b"/>
                <a:pathLst>
                  <a:path w="490244" h="850106">
                    <a:moveTo>
                      <a:pt x="0" y="0"/>
                    </a:moveTo>
                    <a:lnTo>
                      <a:pt x="490244" y="0"/>
                    </a:lnTo>
                    <a:lnTo>
                      <a:pt x="490244" y="850106"/>
                    </a:lnTo>
                    <a:lnTo>
                      <a:pt x="0" y="85010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111111">
                      <a:alpha val="0"/>
                    </a:srgbClr>
                  </a:gs>
                  <a:gs pos="100000">
                    <a:srgbClr val="111111">
                      <a:alpha val="100000"/>
                    </a:srgbClr>
                  </a:gs>
                </a:gsLst>
                <a:lin ang="0"/>
              </a:gra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340178" y="4951598"/>
                <a:ext cx="2966132" cy="12740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800" b="1" spc="-43" dirty="0">
                    <a:solidFill>
                      <a:srgbClr val="DD8C23">
                        <a:alpha val="80000"/>
                      </a:srgbClr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 SPOOKY HOLLOW MANSION</a:t>
                </a:r>
                <a:r>
                  <a:rPr lang="en-US" sz="800" b="1" spc="-43" dirty="0">
                    <a:solidFill>
                      <a:srgbClr val="E1DDD8">
                        <a:alpha val="80000"/>
                      </a:srgbClr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 | 123 ANYWHERE ST., ANY CITY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6374232" y="3277823"/>
                <a:ext cx="951815" cy="173919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5651" spc="-197" dirty="0">
                    <a:solidFill>
                      <a:srgbClr val="FE9204">
                        <a:alpha val="80000"/>
                      </a:srgbClr>
                    </a:solidFill>
                    <a:latin typeface="Anton"/>
                    <a:ea typeface="Anton"/>
                    <a:cs typeface="Anton"/>
                    <a:sym typeface="Anton"/>
                  </a:rPr>
                  <a:t>31</a:t>
                </a:r>
              </a:p>
              <a:p>
                <a:pPr algn="r"/>
                <a:r>
                  <a:rPr lang="en-US" sz="5651" spc="-197" dirty="0">
                    <a:solidFill>
                      <a:srgbClr val="FE9204">
                        <a:alpha val="80000"/>
                      </a:srgbClr>
                    </a:solidFill>
                    <a:latin typeface="Anton"/>
                    <a:ea typeface="Anton"/>
                    <a:cs typeface="Anton"/>
                    <a:sym typeface="Anton"/>
                  </a:rPr>
                  <a:t>OCT</a:t>
                </a: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233953" y="309880"/>
                <a:ext cx="2203639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800" b="1" dirty="0">
                    <a:solidFill>
                      <a:srgbClr val="FE9204"/>
                    </a:solidFill>
                    <a:latin typeface="Roboto Mono" panose="00000009000000000000" pitchFamily="49" charset="0"/>
                    <a:ea typeface="Roboto Mono" panose="00000009000000000000" pitchFamily="49" charset="0"/>
                    <a:cs typeface="Roboto Mono Bold"/>
                    <a:sym typeface="Roboto Mono Bold"/>
                  </a:rPr>
                  <a:t>SIGN UP SHEET</a:t>
                </a:r>
              </a:p>
            </p:txBody>
          </p:sp>
          <p:sp>
            <p:nvSpPr>
              <p:cNvPr id="26" name="Freeform 26"/>
              <p:cNvSpPr/>
              <p:nvPr/>
            </p:nvSpPr>
            <p:spPr>
              <a:xfrm rot="1121281" flipH="1">
                <a:off x="4260024" y="1297585"/>
                <a:ext cx="402063" cy="298989"/>
              </a:xfrm>
              <a:custGeom>
                <a:avLst/>
                <a:gdLst/>
                <a:ahLst/>
                <a:cxnLst/>
                <a:rect l="l" t="t" r="r" b="b"/>
                <a:pathLst>
                  <a:path w="402063" h="298989">
                    <a:moveTo>
                      <a:pt x="402063" y="0"/>
                    </a:moveTo>
                    <a:lnTo>
                      <a:pt x="0" y="0"/>
                    </a:lnTo>
                    <a:lnTo>
                      <a:pt x="0" y="298989"/>
                    </a:lnTo>
                    <a:lnTo>
                      <a:pt x="402063" y="298989"/>
                    </a:lnTo>
                    <a:lnTo>
                      <a:pt x="402063" y="0"/>
                    </a:lnTo>
                    <a:close/>
                  </a:path>
                </a:pathLst>
              </a:custGeom>
              <a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25" name="QuickSignup"/>
            <p:cNvSpPr/>
            <p:nvPr/>
          </p:nvSpPr>
          <p:spPr>
            <a:xfrm>
              <a:off x="3239255" y="10325804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6">
                <a:alphaModFix amt="50000"/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24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964833"/>
              </p:ext>
            </p:extLst>
          </p:nvPr>
        </p:nvGraphicFramePr>
        <p:xfrm>
          <a:off x="233951" y="5405598"/>
          <a:ext cx="7092096" cy="4817901"/>
        </p:xfrm>
        <a:graphic>
          <a:graphicData uri="http://schemas.openxmlformats.org/drawingml/2006/table">
            <a:tbl>
              <a:tblPr/>
              <a:tblGrid>
                <a:gridCol w="17730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3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3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30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799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094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040404"/>
                          </a:solidFill>
                          <a:latin typeface="Roboto Mono Medium"/>
                          <a:ea typeface="Roboto Mono Medium"/>
                          <a:cs typeface="Roboto Mono Medium"/>
                          <a:sym typeface="Roboto Mono Medium"/>
                        </a:rPr>
                        <a:t>FULL NAME</a:t>
                      </a:r>
                      <a:endParaRPr lang="en-US" sz="800" b="0" dirty="0"/>
                    </a:p>
                  </a:txBody>
                  <a:tcPr marL="0" marR="0" marT="0" marB="0" anchor="ctr">
                    <a:lnL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8C2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094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040404"/>
                          </a:solidFill>
                          <a:latin typeface="Roboto Mono Medium"/>
                          <a:ea typeface="Roboto Mono Medium"/>
                          <a:cs typeface="Roboto Mono Medium"/>
                          <a:sym typeface="Roboto Mono Medium"/>
                        </a:rPr>
                        <a:t>PHONE</a:t>
                      </a:r>
                      <a:endParaRPr lang="en-US" sz="800" b="0" dirty="0"/>
                    </a:p>
                  </a:txBody>
                  <a:tcPr marL="0" marR="0" marT="0" marB="0" anchor="ctr">
                    <a:lnL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8C2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094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040404"/>
                          </a:solidFill>
                          <a:latin typeface="Roboto Mono Medium"/>
                          <a:ea typeface="Roboto Mono Medium"/>
                          <a:cs typeface="Roboto Mono Medium"/>
                          <a:sym typeface="Roboto Mono Medium"/>
                        </a:rPr>
                        <a:t>DISHES</a:t>
                      </a:r>
                      <a:endParaRPr lang="en-US" sz="800" b="0" dirty="0"/>
                    </a:p>
                  </a:txBody>
                  <a:tcPr marL="0" marR="0" marT="0" marB="0" anchor="ctr">
                    <a:lnL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8C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94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040404"/>
                          </a:solidFill>
                          <a:latin typeface="Roboto Mono Medium"/>
                          <a:ea typeface="Roboto Mono Medium"/>
                          <a:cs typeface="Roboto Mono Medium"/>
                          <a:sym typeface="Roboto Mono Medium"/>
                        </a:rPr>
                        <a:t>QUANTITY</a:t>
                      </a:r>
                      <a:endParaRPr lang="en-US" sz="800" b="0" dirty="0"/>
                    </a:p>
                  </a:txBody>
                  <a:tcPr marL="0" marR="0" marT="0" marB="0" anchor="ctr">
                    <a:lnL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8C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853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53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53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53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880" cap="flat" cmpd="sng" algn="ctr">
                      <a:solidFill>
                        <a:srgbClr val="DD8C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7991"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45"/>
                        </a:lnSpc>
                        <a:defRPr/>
                      </a:pPr>
                      <a:endParaRPr lang="en-US" sz="800" dirty="0">
                        <a:solidFill>
                          <a:srgbClr val="111111"/>
                        </a:solidFill>
                        <a:latin typeface="Roboto Mono" panose="00000009000000000000" pitchFamily="49" charset="0"/>
                        <a:ea typeface="Roboto Mono" panose="00000009000000000000" pitchFamily="49" charset="0"/>
                      </a:endParaRPr>
                    </a:p>
                  </a:txBody>
                  <a:tcPr marL="0" marR="0" marT="0" marB="0" anchor="ctr">
                    <a:lnL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94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</TotalTime>
  <Words>36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nton</vt:lpstr>
      <vt:lpstr>Arial</vt:lpstr>
      <vt:lpstr>Lacquer</vt:lpstr>
      <vt:lpstr>Calibri</vt:lpstr>
      <vt:lpstr>Roboto Mono</vt:lpstr>
      <vt:lpstr>Roboto Mono Medium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50</cp:revision>
  <dcterms:created xsi:type="dcterms:W3CDTF">2006-08-16T00:00:00Z</dcterms:created>
  <dcterms:modified xsi:type="dcterms:W3CDTF">2024-09-28T02:13:44Z</dcterms:modified>
  <dc:identifier>DAGR7N8ueBI</dc:identifier>
</cp:coreProperties>
</file>